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7ED8DC36-8645-4312-B450-A1CEFF3A1730}">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presProps" Target="presProps.xml"/><Relationship Id="rId36" Type="http://schemas.openxmlformats.org/officeDocument/2006/relationships/viewProps" Target="viewProps.xml"/><Relationship Id="rId37" Type="http://schemas.openxmlformats.org/officeDocument/2006/relationships/theme" Target="theme/theme1.xml"/><Relationship Id="rId38" Type="http://schemas.openxmlformats.org/officeDocument/2006/relationships/tableStyles" Target="tableStyles.xml"/><Relationship Id="rId39" Type="http://schemas.microsoft.com/office/2015/10/relationships/revisionInfo" Target="revisionInfo.xml"/><Relationship Id="rId4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8073944138045</c:v>
                </c:pt>
                <c:pt idx="1">
                  <c:v>0.00048088142087695704</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pt idx="10">
                  <c:v>0.0002456874485087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2.815609740400782e-06</c:v>
                </c:pt>
                <c:pt idx="1">
                  <c:v/>
                </c:pt>
                <c:pt idx="2">
                  <c:v/>
                </c:pt>
                <c:pt idx="3">
                  <c:v/>
                </c:pt>
                <c:pt idx="4">
                  <c:v/>
                </c:pt>
                <c:pt idx="5">
                  <c:v/>
                </c:pt>
                <c:pt idx="6">
                  <c:v>0.004580364971976064</c:v>
                </c:pt>
                <c:pt idx="7">
                  <c:v/>
                </c:pt>
                <c:pt idx="8">
                  <c:v>0.01731393129222696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9651889967226963</c:v>
                </c:pt>
                <c:pt idx="4">
                  <c:v>0.04759709771413086</c:v>
                </c:pt>
                <c:pt idx="5">
                  <c:v>0.11494751174683011</c:v>
                </c:pt>
                <c:pt idx="6">
                  <c:v>0.1736599363969465</c:v>
                </c:pt>
                <c:pt idx="7">
                  <c:v>0.0828936000585582</c:v>
                </c:pt>
                <c:pt idx="8">
                  <c:v>0.17952376942204418</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0.017313931292226963</c:v>
                </c:pt>
                <c:pt idx="4">
                  <c:v>0.004580364971976064</c:v>
                </c:pt>
                <c:pt idx="5">
                  <c:v/>
                </c:pt>
                <c:pt idx="6">
                  <c:v/>
                </c:pt>
                <c:pt idx="7">
                  <c:v/>
                </c:pt>
                <c:pt idx="8">
                  <c:v/>
                </c:pt>
                <c:pt idx="9">
                  <c:v/>
                </c:pt>
                <c:pt idx="10">
                  <c:v>2.81560974040078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11709217842335341</c:v>
                </c:pt>
                <c:pt idx="6">
                  <c:v>0.00534250401584362</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1.117273956299957e-06</c:v>
                </c:pt>
                <c:pt idx="1">
                  <c:v/>
                </c:pt>
                <c:pt idx="2">
                  <c:v/>
                </c:pt>
                <c:pt idx="3">
                  <c:v/>
                </c:pt>
                <c:pt idx="4">
                  <c:v/>
                </c:pt>
                <c:pt idx="5">
                  <c:v>0.0004899353044294703</c:v>
                </c:pt>
                <c:pt idx="6">
                  <c:v/>
                </c:pt>
                <c:pt idx="7">
                  <c:v>0.005892467263552843</c:v>
                </c:pt>
                <c:pt idx="8">
                  <c:v/>
                </c:pt>
                <c:pt idx="9">
                  <c:v>0.03561472989503588</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9964396339017691</c:v>
                </c:pt>
                <c:pt idx="6">
                  <c:v>0.0065955486855138945</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5311791428824259</c:v>
                </c:pt>
                <c:pt idx="8">
                  <c:v>0.00011739368774773056</c:v>
                </c:pt>
                <c:pt idx="9">
                  <c:v>0.09026574759035522</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9651889967226963</c:v>
                </c:pt>
                <c:pt idx="4">
                  <c:v>0.04759709771413086</c:v>
                </c:pt>
                <c:pt idx="5">
                  <c:v>0.1736599363969465</c:v>
                </c:pt>
                <c:pt idx="6">
                  <c:v>0.11494751174683011</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0.09026574759035522</c:v>
                </c:pt>
                <c:pt idx="2">
                  <c:v>0.00011739368774773056</c:v>
                </c:pt>
                <c:pt idx="3">
                  <c:v>0.005311791428824259</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05618546593806815</c:v>
                </c:pt>
                <c:pt idx="8">
                  <c:v>0.01064244743802032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06774110162039201</c:v>
                </c:pt>
                <c:pt idx="7">
                  <c:v>0.0011066114815078863</c:v>
                </c:pt>
                <c:pt idx="8">
                  <c:v>0.012830687066825287</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2830687066825287</c:v>
                </c:pt>
                <c:pt idx="3">
                  <c:v>0.0011066114815078863</c:v>
                </c:pt>
                <c:pt idx="4">
                  <c:v>0.0006774110162039201</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8073944138045</c:v>
                </c:pt>
                <c:pt idx="1">
                  <c:v>0.00048088142087695704</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pt idx="10">
                  <c:v>0.0002456874485087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11709217842335341</c:v>
                </c:pt>
                <c:pt idx="6">
                  <c:v>0.00534250401584362</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05618546593806815</c:v>
                </c:pt>
                <c:pt idx="8">
                  <c:v>0.01064244743802032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9964396339017691</c:v>
                </c:pt>
                <c:pt idx="6">
                  <c:v>0.0065955486855138945</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0902637989208867e-07</c:v>
                </c:pt>
                <c:pt idx="5">
                  <c:v/>
                </c:pt>
                <c:pt idx="6">
                  <c:v/>
                </c:pt>
                <c:pt idx="7">
                  <c:v>0.0037298040148804625</c:v>
                </c:pt>
                <c:pt idx="8">
                  <c:v>0.01297550588120280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736599363969465</c:v>
                </c:pt>
                <c:pt idx="6">
                  <c:v>0.11494751174683011</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0.012975505881202803</c:v>
                </c:pt>
                <c:pt idx="3">
                  <c:v>0.0037298040148804625</c:v>
                </c:pt>
                <c:pt idx="4">
                  <c:v/>
                </c:pt>
                <c:pt idx="5">
                  <c:v/>
                </c:pt>
                <c:pt idx="6">
                  <c:v>2.0902637989208867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725619934971639</c:v>
                </c:pt>
                <c:pt idx="3">
                  <c:v>0.008949046454423844</c:v>
                </c:pt>
                <c:pt idx="4">
                  <c:v>0.006129297074432178</c:v>
                </c:pt>
                <c:pt idx="5">
                  <c:v>0.024515893736835173</c:v>
                </c:pt>
                <c:pt idx="6">
                  <c:v>0.015661540441294683</c:v>
                </c:pt>
                <c:pt idx="7">
                  <c:v>0.05133844013659845</c:v>
                </c:pt>
                <c:pt idx="8">
                  <c:v>0.05778867381508910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562496345558577</c:v>
                </c:pt>
                <c:pt idx="5">
                  <c:v>0.008625546990269144</c:v>
                </c:pt>
                <c:pt idx="6">
                  <c:v>0.01145478071794009</c:v>
                </c:pt>
                <c:pt idx="7">
                  <c:v>0.022883222378001097</c:v>
                </c:pt>
                <c:pt idx="8">
                  <c:v>0.05329542368167689</c:v>
                </c:pt>
                <c:pt idx="9">
                  <c:v>0.007251936321712222</c:v>
                </c:pt>
                <c:pt idx="10">
                  <c:v>0.00080130730057553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18615243730184993</c:v>
                </c:pt>
                <c:pt idx="5">
                  <c:v>0.01896502549652692</c:v>
                </c:pt>
                <c:pt idx="6">
                  <c:v>0.01726077346311387</c:v>
                </c:pt>
                <c:pt idx="7">
                  <c:v>0.016311361300978516</c:v>
                </c:pt>
                <c:pt idx="8">
                  <c:v>0.08246515083130951</c:v>
                </c:pt>
                <c:pt idx="9">
                  <c:v>0.01140012387078055</c:v>
                </c:pt>
                <c:pt idx="10">
                  <c:v>0.000838038549225973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380385492259739</c:v>
                </c:pt>
                <c:pt idx="1">
                  <c:v>0.01140012387078055</c:v>
                </c:pt>
                <c:pt idx="2">
                  <c:v>0.08246515083130951</c:v>
                </c:pt>
                <c:pt idx="3">
                  <c:v>0.016311361300978516</c:v>
                </c:pt>
                <c:pt idx="4">
                  <c:v>0.01726077346311387</c:v>
                </c:pt>
                <c:pt idx="5">
                  <c:v>0.01896502549652692</c:v>
                </c:pt>
                <c:pt idx="6">
                  <c:v>0.00018615243730184993</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4908400446714014</c:v>
                </c:pt>
                <c:pt idx="7">
                  <c:v>0.0018803708507033347</c:v>
                </c:pt>
                <c:pt idx="8">
                  <c:v>0.00436927492599697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7471834201411426</c:v>
                </c:pt>
                <c:pt idx="1">
                  <c:v>0.01733909455451033</c:v>
                </c:pt>
                <c:pt idx="2">
                  <c:v>0.030917818303169083</c:v>
                </c:pt>
                <c:pt idx="3">
                  <c:v/>
                </c:pt>
                <c:pt idx="4">
                  <c:v>0.0001913243189511857</c:v>
                </c:pt>
                <c:pt idx="5">
                  <c:v>0.03726530710716553</c:v>
                </c:pt>
                <c:pt idx="6">
                  <c:v>0.028448033461384293</c:v>
                </c:pt>
                <c:pt idx="7">
                  <c:v>0.04432812257210345</c:v>
                </c:pt>
                <c:pt idx="8">
                  <c:v>0.055989035289387354</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6312042361883014e-07</c:v>
                </c:pt>
                <c:pt idx="5">
                  <c:v>0.00015578834041623694</c:v>
                </c:pt>
                <c:pt idx="6">
                  <c:v>0.00026057341791819983</c:v>
                </c:pt>
                <c:pt idx="7">
                  <c:v>0.0031474044080606668</c:v>
                </c:pt>
                <c:pt idx="8">
                  <c:v>0.00488500958637164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885009586371642</c:v>
                </c:pt>
                <c:pt idx="3">
                  <c:v>0.0031474044080606668</c:v>
                </c:pt>
                <c:pt idx="4">
                  <c:v>0.00026057341791819983</c:v>
                </c:pt>
                <c:pt idx="5">
                  <c:v>0.00015578834041623694</c:v>
                </c:pt>
                <c:pt idx="6">
                  <c:v>2.6312042361883014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562496345558577</c:v>
                </c:pt>
                <c:pt idx="5">
                  <c:v>0.008625546990269144</c:v>
                </c:pt>
                <c:pt idx="6">
                  <c:v>0.01145478071794009</c:v>
                </c:pt>
                <c:pt idx="7">
                  <c:v>0.022883222378001097</c:v>
                </c:pt>
                <c:pt idx="8">
                  <c:v>0.05329542368167689</c:v>
                </c:pt>
                <c:pt idx="9">
                  <c:v>0.007251936321712222</c:v>
                </c:pt>
                <c:pt idx="10">
                  <c:v>0.00080130730057553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809690658374989</c:v>
                </c:pt>
                <c:pt idx="5">
                  <c:v>0.0043846185497573254</c:v>
                </c:pt>
                <c:pt idx="6">
                  <c:v>0.016601237523760515</c:v>
                </c:pt>
                <c:pt idx="7">
                  <c:v>0.042002967665951234</c:v>
                </c:pt>
                <c:pt idx="8">
                  <c:v>0.03574887950796415</c:v>
                </c:pt>
                <c:pt idx="9">
                  <c:v>0.008992305718647522</c:v>
                </c:pt>
                <c:pt idx="10">
                  <c:v>0.00107660876904945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0766087690494593</c:v>
                </c:pt>
                <c:pt idx="1">
                  <c:v>0.008992305718647522</c:v>
                </c:pt>
                <c:pt idx="2">
                  <c:v>0.03574887950796415</c:v>
                </c:pt>
                <c:pt idx="3">
                  <c:v>0.042002967665951234</c:v>
                </c:pt>
                <c:pt idx="4">
                  <c:v>0.016601237523760515</c:v>
                </c:pt>
                <c:pt idx="5">
                  <c:v>0.0043846185497573254</c:v>
                </c:pt>
                <c:pt idx="6">
                  <c:v>0.0002809690658374989</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55989035289387354</c:v>
                </c:pt>
                <c:pt idx="3">
                  <c:v>0.04432812257210345</c:v>
                </c:pt>
                <c:pt idx="4">
                  <c:v>0.028448033461384293</c:v>
                </c:pt>
                <c:pt idx="5">
                  <c:v>0.03726530710716553</c:v>
                </c:pt>
                <c:pt idx="6">
                  <c:v>0.0001913243189511857</c:v>
                </c:pt>
                <c:pt idx="7">
                  <c:v/>
                </c:pt>
                <c:pt idx="8">
                  <c:v>0.01733909455451033</c:v>
                </c:pt>
                <c:pt idx="9">
                  <c:v>0.030917818303169083</c:v>
                </c:pt>
                <c:pt idx="10">
                  <c:v>0.000747183420141142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11709217842335341</c:v>
                </c:pt>
                <c:pt idx="6">
                  <c:v>0.00534250401584362</c:v>
                </c:pt>
                <c:pt idx="7">
                  <c:v>0.006340546960868801</c:v>
                </c:pt>
                <c:pt idx="8">
                  <c:v>0.016091999132285983</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1.1968898780611883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9964396339017691</c:v>
                </c:pt>
                <c:pt idx="6">
                  <c:v>0.0065955486855138945</c:v>
                </c:pt>
                <c:pt idx="7">
                  <c:v>0.0047563341441257</c:v>
                </c:pt>
                <c:pt idx="8">
                  <c:v>0.010300855959700369</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7.148203296867518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9651889967226963</c:v>
                </c:pt>
                <c:pt idx="4">
                  <c:v>0.04759709771413086</c:v>
                </c:pt>
                <c:pt idx="5">
                  <c:v>0.1736599363969465</c:v>
                </c:pt>
                <c:pt idx="6">
                  <c:v>0.11494751174683011</c:v>
                </c:pt>
                <c:pt idx="7">
                  <c:v>0.0828936000585582</c:v>
                </c:pt>
                <c:pt idx="8">
                  <c:v>0.17952376942204418</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7.148203296867518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4908400446714014</c:v>
                </c:pt>
                <c:pt idx="7">
                  <c:v>0.0018803708507033347</c:v>
                </c:pt>
                <c:pt idx="8">
                  <c:v>0.00436927492599697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4580604413649191</c:v>
                </c:pt>
                <c:pt idx="7">
                  <c:v>0.006310183683359255</c:v>
                </c:pt>
                <c:pt idx="8">
                  <c:v>0.00325466631360499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9651889967226963</c:v>
                </c:pt>
                <c:pt idx="4">
                  <c:v>0.04759709771413086</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254666313604992</c:v>
                </c:pt>
                <c:pt idx="3">
                  <c:v>0.006310183683359255</c:v>
                </c:pt>
                <c:pt idx="4">
                  <c:v>0.004580604413649191</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7.405405396720762e-07</c:v>
                </c:pt>
                <c:pt idx="3">
                  <c:v>0.08206079859622176</c:v>
                </c:pt>
                <c:pt idx="4">
                  <c:v>0.013735802625934962</c:v>
                </c:pt>
                <c:pt idx="5">
                  <c:v>0.06158870680921726</c:v>
                </c:pt>
                <c:pt idx="6">
                  <c:v>0.02319507043178579</c:v>
                </c:pt>
                <c:pt idx="7">
                  <c:v>0.05900056563816069</c:v>
                </c:pt>
                <c:pt idx="8">
                  <c:v>0.024630784631086092</c:v>
                </c:pt>
                <c:pt idx="9">
                  <c:v>3.31710453206729e-05</c:v>
                </c:pt>
                <c:pt idx="10">
                  <c:v>5.698653359900480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303006127739208e-09</c:v>
                </c:pt>
                <c:pt idx="1">
                  <c:v/>
                </c:pt>
                <c:pt idx="2">
                  <c:v/>
                </c:pt>
                <c:pt idx="3">
                  <c:v/>
                </c:pt>
                <c:pt idx="4">
                  <c:v>2.203183633756711e-05</c:v>
                </c:pt>
                <c:pt idx="5">
                  <c:v>0.003027262066062952</c:v>
                </c:pt>
                <c:pt idx="6">
                  <c:v>0.0010604946733321584</c:v>
                </c:pt>
                <c:pt idx="7">
                  <c:v>0.0023717787570514855</c:v>
                </c:pt>
                <c:pt idx="8">
                  <c:v>0.006071430724052173</c:v>
                </c:pt>
                <c:pt idx="9">
                  <c:v>0.000623507129863221</c:v>
                </c:pt>
                <c:pt idx="10">
                  <c:v>6.889481553008623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1.2566852429191972e-05</c:v>
                </c:pt>
                <c:pt idx="5">
                  <c:v>0.003911031556081937</c:v>
                </c:pt>
                <c:pt idx="6">
                  <c:v>0.0016316665628085386</c:v>
                </c:pt>
                <c:pt idx="7">
                  <c:v>0.001701369359043547</c:v>
                </c:pt>
                <c:pt idx="8">
                  <c:v>0.006686351320270802</c:v>
                </c:pt>
                <c:pt idx="9">
                  <c:v>0.0007696040752144598</c:v>
                </c:pt>
                <c:pt idx="10">
                  <c:v>5.6574638133906865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6574638133906865e-05</c:v>
                </c:pt>
                <c:pt idx="1">
                  <c:v>0.0007696040752144598</c:v>
                </c:pt>
                <c:pt idx="2">
                  <c:v>0.006686351320270802</c:v>
                </c:pt>
                <c:pt idx="3">
                  <c:v>0.001701369359043547</c:v>
                </c:pt>
                <c:pt idx="4">
                  <c:v>0.0016316665628085386</c:v>
                </c:pt>
                <c:pt idx="5">
                  <c:v>0.003911031556081937</c:v>
                </c:pt>
                <c:pt idx="6">
                  <c:v>1.2566852429191972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8596841375903e-08</c:v>
                </c:pt>
                <c:pt idx="1">
                  <c:v/>
                </c:pt>
                <c:pt idx="2">
                  <c:v>5.158174402496781e-08</c:v>
                </c:pt>
                <c:pt idx="3">
                  <c:v>0.0057158776338552915</c:v>
                </c:pt>
                <c:pt idx="4">
                  <c:v>0.0009567560681312612</c:v>
                </c:pt>
                <c:pt idx="5">
                  <c:v>0.004289910868172863</c:v>
                </c:pt>
                <c:pt idx="6">
                  <c:v>0.0016244894625011563</c:v>
                </c:pt>
                <c:pt idx="7">
                  <c:v>0.004216145629764927</c:v>
                </c:pt>
                <c:pt idx="8">
                  <c:v>0.0017156371054816149</c:v>
                </c:pt>
                <c:pt idx="9">
                  <c:v>0.0006460664892238465</c:v>
                </c:pt>
                <c:pt idx="10">
                  <c:v>3.969350267138296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2134524682974983</c:v>
                </c:pt>
                <c:pt idx="1">
                  <c:v/>
                </c:pt>
                <c:pt idx="2">
                  <c:v>0.0008557090757988714</c:v>
                </c:pt>
                <c:pt idx="3">
                  <c:v>0.004305507235110744</c:v>
                </c:pt>
                <c:pt idx="4">
                  <c:v>0.0024985981994780546</c:v>
                </c:pt>
                <c:pt idx="5">
                  <c:v>0.0018948968970152788</c:v>
                </c:pt>
                <c:pt idx="6">
                  <c:v>0.0005688221943184305</c:v>
                </c:pt>
                <c:pt idx="7">
                  <c:v>0.004927225028614795</c:v>
                </c:pt>
                <c:pt idx="8">
                  <c:v>0.0007633515563374943</c:v>
                </c:pt>
                <c:pt idx="9">
                  <c:v>2.0320686350137977e-07</c:v>
                </c:pt>
                <c:pt idx="10">
                  <c:v>5.25779996472101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257799964721015e-08</c:v>
                </c:pt>
                <c:pt idx="1">
                  <c:v>2.0320686350137977e-07</c:v>
                </c:pt>
                <c:pt idx="2">
                  <c:v>0.0007633515563374943</c:v>
                </c:pt>
                <c:pt idx="3">
                  <c:v>0.004927225028614795</c:v>
                </c:pt>
                <c:pt idx="4">
                  <c:v>0.0005688221943184305</c:v>
                </c:pt>
                <c:pt idx="5">
                  <c:v>0.0018948968970152788</c:v>
                </c:pt>
                <c:pt idx="6">
                  <c:v>0.0024985981994780546</c:v>
                </c:pt>
                <c:pt idx="7">
                  <c:v>0.004305507235110744</c:v>
                </c:pt>
                <c:pt idx="8">
                  <c:v/>
                </c:pt>
                <c:pt idx="9">
                  <c:v>0.0008557090757988714</c:v>
                </c:pt>
                <c:pt idx="10">
                  <c:v>0.000213452468297498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2595050014481613</c:v>
                </c:pt>
                <c:pt idx="3">
                  <c:v>0.0006233384922911094</c:v>
                </c:pt>
                <c:pt idx="4">
                  <c:v>0.00042693116150851855</c:v>
                </c:pt>
                <c:pt idx="5">
                  <c:v>0.0017076344744566142</c:v>
                </c:pt>
                <c:pt idx="6">
                  <c:v>0.0013050492529639898</c:v>
                </c:pt>
                <c:pt idx="7">
                  <c:v>0.00373760751220693</c:v>
                </c:pt>
                <c:pt idx="8">
                  <c:v>0.00440088429534618</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4527097186203e-05</c:v>
                </c:pt>
                <c:pt idx="1">
                  <c:v>0.0009385705822158571</c:v>
                </c:pt>
                <c:pt idx="2">
                  <c:v>0.00167359112290561</c:v>
                </c:pt>
                <c:pt idx="3">
                  <c:v/>
                </c:pt>
                <c:pt idx="4">
                  <c:v>1.037420774120156e-05</c:v>
                </c:pt>
                <c:pt idx="5">
                  <c:v>0.002027699687448518</c:v>
                </c:pt>
                <c:pt idx="6">
                  <c:v>0.0015574917945494827</c:v>
                </c:pt>
                <c:pt idx="7">
                  <c:v>0.0026119712875011234</c:v>
                </c:pt>
                <c:pt idx="8">
                  <c:v>0.003360483058694947</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360483058694947</c:v>
                </c:pt>
                <c:pt idx="3">
                  <c:v>0.0026119712875011234</c:v>
                </c:pt>
                <c:pt idx="4">
                  <c:v>0.0015574917945494827</c:v>
                </c:pt>
                <c:pt idx="5">
                  <c:v>0.002027699687448518</c:v>
                </c:pt>
                <c:pt idx="6">
                  <c:v>1.037420774120156e-05</c:v>
                </c:pt>
                <c:pt idx="7">
                  <c:v/>
                </c:pt>
                <c:pt idx="8">
                  <c:v>0.0009385705822158571</c:v>
                </c:pt>
                <c:pt idx="9">
                  <c:v>0.00167359112290561</c:v>
                </c:pt>
                <c:pt idx="10">
                  <c:v>4.044527097186203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303006127739208e-09</c:v>
                </c:pt>
                <c:pt idx="1">
                  <c:v/>
                </c:pt>
                <c:pt idx="2">
                  <c:v/>
                </c:pt>
                <c:pt idx="3">
                  <c:v/>
                </c:pt>
                <c:pt idx="4">
                  <c:v>2.203183633756711e-05</c:v>
                </c:pt>
                <c:pt idx="5">
                  <c:v>0.003027262066062952</c:v>
                </c:pt>
                <c:pt idx="6">
                  <c:v>0.0010604946733321584</c:v>
                </c:pt>
                <c:pt idx="7">
                  <c:v>0.0023717787570514855</c:v>
                </c:pt>
                <c:pt idx="8">
                  <c:v>0.006071430724052173</c:v>
                </c:pt>
                <c:pt idx="9">
                  <c:v>0.000623507129863221</c:v>
                </c:pt>
                <c:pt idx="10">
                  <c:v>6.889481553008623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01553729815362e-08</c:v>
                </c:pt>
                <c:pt idx="1">
                  <c:v/>
                </c:pt>
                <c:pt idx="2">
                  <c:v/>
                </c:pt>
                <c:pt idx="3">
                  <c:v/>
                </c:pt>
                <c:pt idx="4">
                  <c:v>0.00010924894997290601</c:v>
                </c:pt>
                <c:pt idx="5">
                  <c:v>0.0024172512273142985</c:v>
                </c:pt>
                <c:pt idx="6">
                  <c:v>0.0024872310522562045</c:v>
                </c:pt>
                <c:pt idx="7">
                  <c:v>0.004667833658563696</c:v>
                </c:pt>
                <c:pt idx="8">
                  <c:v>0.005388863008772088</c:v>
                </c:pt>
                <c:pt idx="9">
                  <c:v>0.0008218578878327005</c:v>
                </c:pt>
                <c:pt idx="10">
                  <c:v>9.839738957254141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839738957254141e-05</c:v>
                </c:pt>
                <c:pt idx="1">
                  <c:v>0.0008218578878327005</c:v>
                </c:pt>
                <c:pt idx="2">
                  <c:v>0.005388863008772088</c:v>
                </c:pt>
                <c:pt idx="3">
                  <c:v>0.004667833658563696</c:v>
                </c:pt>
                <c:pt idx="4">
                  <c:v>0.0024872310522562045</c:v>
                </c:pt>
                <c:pt idx="5">
                  <c:v>0.0024172512273142985</c:v>
                </c:pt>
                <c:pt idx="6">
                  <c:v>0.00010924894997290601</c:v>
                </c:pt>
                <c:pt idx="7">
                  <c:v/>
                </c:pt>
                <c:pt idx="8">
                  <c:v/>
                </c:pt>
                <c:pt idx="9">
                  <c:v/>
                </c:pt>
                <c:pt idx="10">
                  <c:v>4.001553729815362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8073944138045</c:v>
                </c:pt>
                <c:pt idx="1">
                  <c:v>0.00048088142087695704</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pt idx="10">
                  <c:v>0.0002456874485087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8596841375903e-08</c:v>
                </c:pt>
                <c:pt idx="1">
                  <c:v/>
                </c:pt>
                <c:pt idx="2">
                  <c:v>5.158174402496781e-08</c:v>
                </c:pt>
                <c:pt idx="3">
                  <c:v>0.0057158776338552915</c:v>
                </c:pt>
                <c:pt idx="4">
                  <c:v>0.0009567560681312612</c:v>
                </c:pt>
                <c:pt idx="5">
                  <c:v>0.004289910868172863</c:v>
                </c:pt>
                <c:pt idx="6">
                  <c:v>0.0016244894625011563</c:v>
                </c:pt>
                <c:pt idx="7">
                  <c:v>0.004216145629764927</c:v>
                </c:pt>
                <c:pt idx="8">
                  <c:v>0.0017156371054816149</c:v>
                </c:pt>
                <c:pt idx="9">
                  <c:v>0.0006460664892238465</c:v>
                </c:pt>
                <c:pt idx="10">
                  <c:v>3.969350267138296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896356463240782e-06</c:v>
                </c:pt>
                <c:pt idx="1">
                  <c:v>3.9607215488988784e-07</c:v>
                </c:pt>
                <c:pt idx="2">
                  <c:v>2.7463724884426656e-06</c:v>
                </c:pt>
                <c:pt idx="3">
                  <c:v>0.010401641215212906</c:v>
                </c:pt>
                <c:pt idx="4">
                  <c:v>0.0025501673259900166</c:v>
                </c:pt>
                <c:pt idx="5">
                  <c:v>0.0035556965300212423</c:v>
                </c:pt>
                <c:pt idx="6">
                  <c:v>0.0017860739078562468</c:v>
                </c:pt>
                <c:pt idx="7">
                  <c:v>0.004207288306650299</c:v>
                </c:pt>
                <c:pt idx="8">
                  <c:v>0.0012870907741153095</c:v>
                </c:pt>
                <c:pt idx="9">
                  <c:v>0.0024358421192855737</c:v>
                </c:pt>
                <c:pt idx="10">
                  <c:v>1.3201860733917374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3201860733917374e-05</c:v>
                </c:pt>
                <c:pt idx="1">
                  <c:v>0.0024358421192855737</c:v>
                </c:pt>
                <c:pt idx="2">
                  <c:v>0.0012870907741153095</c:v>
                </c:pt>
                <c:pt idx="3">
                  <c:v>0.004207288306650299</c:v>
                </c:pt>
                <c:pt idx="4">
                  <c:v>0.0017860739078562468</c:v>
                </c:pt>
                <c:pt idx="5">
                  <c:v>0.0035556965300212423</c:v>
                </c:pt>
                <c:pt idx="6">
                  <c:v>0.0025501673259900166</c:v>
                </c:pt>
                <c:pt idx="7">
                  <c:v>0.010401641215212906</c:v>
                </c:pt>
                <c:pt idx="8">
                  <c:v>3.9607215488988784e-07</c:v>
                </c:pt>
                <c:pt idx="9">
                  <c:v>2.7463724884426656e-06</c:v>
                </c:pt>
                <c:pt idx="10">
                  <c:v>1.689635646324078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7.405405396720762e-07</c:v>
                </c:pt>
                <c:pt idx="3">
                  <c:v>0.08206079859622176</c:v>
                </c:pt>
                <c:pt idx="4">
                  <c:v>0.013735802625934962</c:v>
                </c:pt>
                <c:pt idx="5">
                  <c:v>0.06158870680921726</c:v>
                </c:pt>
                <c:pt idx="6">
                  <c:v>0.02319507043178579</c:v>
                </c:pt>
                <c:pt idx="7">
                  <c:v>0.05900056563816069</c:v>
                </c:pt>
                <c:pt idx="8">
                  <c:v>0.024630784631086092</c:v>
                </c:pt>
                <c:pt idx="9">
                  <c:v>3.31710453206729e-05</c:v>
                </c:pt>
                <c:pt idx="10">
                  <c:v>5.698653359900480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2595050014481613</c:v>
                </c:pt>
                <c:pt idx="3">
                  <c:v>0.0006233384922911094</c:v>
                </c:pt>
                <c:pt idx="4">
                  <c:v>0.00042693116150851855</c:v>
                </c:pt>
                <c:pt idx="5">
                  <c:v>0.0017076344744566142</c:v>
                </c:pt>
                <c:pt idx="6">
                  <c:v>0.0013050492529639898</c:v>
                </c:pt>
                <c:pt idx="7">
                  <c:v>0.00373760751220693</c:v>
                </c:pt>
                <c:pt idx="8">
                  <c:v>0.00440088429534618</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838225006149429e-08</c:v>
                </c:pt>
                <c:pt idx="1">
                  <c:v>1.086952655996785e-06</c:v>
                </c:pt>
                <c:pt idx="2">
                  <c:v>0.0023943019083519984</c:v>
                </c:pt>
                <c:pt idx="3">
                  <c:v>0.002775978269537971</c:v>
                </c:pt>
                <c:pt idx="4">
                  <c:v>0.0004931882306252701</c:v>
                </c:pt>
                <c:pt idx="5">
                  <c:v>0.0019749023285045237</c:v>
                </c:pt>
                <c:pt idx="6">
                  <c:v>0.001754079444177327</c:v>
                </c:pt>
                <c:pt idx="7">
                  <c:v>0.004794791525400081</c:v>
                </c:pt>
                <c:pt idx="8">
                  <c:v>0.004444462846147311</c:v>
                </c:pt>
                <c:pt idx="9">
                  <c:v>2.6949239404878965e-08</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2.6949239404878965e-08</c:v>
                </c:pt>
                <c:pt idx="2">
                  <c:v>0.004444462846147311</c:v>
                </c:pt>
                <c:pt idx="3">
                  <c:v>0.004794791525400081</c:v>
                </c:pt>
                <c:pt idx="4">
                  <c:v>0.001754079444177327</c:v>
                </c:pt>
                <c:pt idx="5">
                  <c:v>0.0019749023285045237</c:v>
                </c:pt>
                <c:pt idx="6">
                  <c:v>0.0004931882306252701</c:v>
                </c:pt>
                <c:pt idx="7">
                  <c:v>0.002775978269537971</c:v>
                </c:pt>
                <c:pt idx="8">
                  <c:v>1.086952655996785e-06</c:v>
                </c:pt>
                <c:pt idx="9">
                  <c:v>0.0023943019083519984</c:v>
                </c:pt>
                <c:pt idx="10">
                  <c:v>3.838225006149429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57822488270972e-05</c:v>
                </c:pt>
                <c:pt idx="5">
                  <c:v>0.0012985707944666272</c:v>
                </c:pt>
                <c:pt idx="6">
                  <c:v>0.0017245101921208505</c:v>
                </c:pt>
                <c:pt idx="7">
                  <c:v>0.0035791279967986884</c:v>
                </c:pt>
                <c:pt idx="8">
                  <c:v>0.010563154350524996</c:v>
                </c:pt>
                <c:pt idx="9">
                  <c:v>0.0010917745531189072</c:v>
                </c:pt>
                <c:pt idx="10">
                  <c:v>0.0001206363212784270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856614831110494e-05</c:v>
                </c:pt>
                <c:pt idx="1">
                  <c:v>5.0857004490138715e-06</c:v>
                </c:pt>
                <c:pt idx="2">
                  <c:v>3.5264351773265254e-05</c:v>
                </c:pt>
                <c:pt idx="3">
                  <c:v>0.13356059179014013</c:v>
                </c:pt>
                <c:pt idx="4">
                  <c:v>0.032745011116607166</c:v>
                </c:pt>
                <c:pt idx="5">
                  <c:v>0.045656346239016515</c:v>
                </c:pt>
                <c:pt idx="6">
                  <c:v>0.022933793156152984</c:v>
                </c:pt>
                <c:pt idx="7">
                  <c:v>0.05305367056078226</c:v>
                </c:pt>
                <c:pt idx="8">
                  <c:v>0.016505258068993306</c:v>
                </c:pt>
                <c:pt idx="9">
                  <c:v>0.014804683726685523</c:v>
                </c:pt>
                <c:pt idx="10">
                  <c:v>0.000169516357646924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075241313900755e-05</c:v>
                </c:pt>
                <c:pt idx="5">
                  <c:v>0.0031330253190040382</c:v>
                </c:pt>
                <c:pt idx="6">
                  <c:v>0.0029960886675650176</c:v>
                </c:pt>
                <c:pt idx="7">
                  <c:v>0.002930866497515238</c:v>
                </c:pt>
                <c:pt idx="8">
                  <c:v>0.01636220679379279</c:v>
                </c:pt>
                <c:pt idx="9">
                  <c:v>0.0018833023310977695</c:v>
                </c:pt>
                <c:pt idx="10">
                  <c:v>0.0001384441056252318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3844410562523186</c:v>
                </c:pt>
                <c:pt idx="1">
                  <c:v>0.0018833023310977695</c:v>
                </c:pt>
                <c:pt idx="2">
                  <c:v>0.01636220679379279</c:v>
                </c:pt>
                <c:pt idx="3">
                  <c:v>0.002930866497515238</c:v>
                </c:pt>
                <c:pt idx="4">
                  <c:v>0.0029960886675650176</c:v>
                </c:pt>
                <c:pt idx="5">
                  <c:v>0.0031330253190040382</c:v>
                </c:pt>
                <c:pt idx="6">
                  <c:v>3.075241313900755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19103502611428e-08</c:v>
                </c:pt>
                <c:pt idx="1">
                  <c:v/>
                </c:pt>
                <c:pt idx="2">
                  <c:v>9.032075630683978e-08</c:v>
                </c:pt>
                <c:pt idx="3">
                  <c:v>0.01000862612550026</c:v>
                </c:pt>
                <c:pt idx="4">
                  <c:v>0.0016753006961716</c:v>
                </c:pt>
                <c:pt idx="5">
                  <c:v>0.0075117272869787656</c:v>
                </c:pt>
                <c:pt idx="6">
                  <c:v>0.002829009610894508</c:v>
                </c:pt>
                <c:pt idx="7">
                  <c:v>0.007196062099894999</c:v>
                </c:pt>
                <c:pt idx="8">
                  <c:v>0.003004117907300123</c:v>
                </c:pt>
                <c:pt idx="9">
                  <c:v>4.045739213923831e-06</c:v>
                </c:pt>
                <c:pt idx="10">
                  <c:v>6.950418698544793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5223406996788968</c:v>
                </c:pt>
                <c:pt idx="1">
                  <c:v/>
                </c:pt>
                <c:pt idx="2">
                  <c:v>0.0020940103477810343</c:v>
                </c:pt>
                <c:pt idx="3">
                  <c:v>0.010536030244100283</c:v>
                </c:pt>
                <c:pt idx="4">
                  <c:v>0.006114333285257657</c:v>
                </c:pt>
                <c:pt idx="5">
                  <c:v>0.004637012534457217</c:v>
                </c:pt>
                <c:pt idx="6">
                  <c:v>0.0013917748991098035</c:v>
                </c:pt>
                <c:pt idx="7">
                  <c:v>0.0120573575294486</c:v>
                </c:pt>
                <c:pt idx="8">
                  <c:v>0.0018668924664963134</c:v>
                </c:pt>
                <c:pt idx="9">
                  <c:v>1.7560884983545893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7560884983545893e-07</c:v>
                </c:pt>
                <c:pt idx="2">
                  <c:v>0.0018668924664963134</c:v>
                </c:pt>
                <c:pt idx="3">
                  <c:v>0.0120573575294486</c:v>
                </c:pt>
                <c:pt idx="4">
                  <c:v>0.0013917748991098035</c:v>
                </c:pt>
                <c:pt idx="5">
                  <c:v>0.004637012534457217</c:v>
                </c:pt>
                <c:pt idx="6">
                  <c:v>0.006114333285257657</c:v>
                </c:pt>
                <c:pt idx="7">
                  <c:v>0.010536030244100283</c:v>
                </c:pt>
                <c:pt idx="8">
                  <c:v/>
                </c:pt>
                <c:pt idx="9">
                  <c:v>0.0020940103477810343</c:v>
                </c:pt>
                <c:pt idx="10">
                  <c:v>0.000522340699678896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695163576469242</c:v>
                </c:pt>
                <c:pt idx="1">
                  <c:v>0.014804683726685523</c:v>
                </c:pt>
                <c:pt idx="2">
                  <c:v>0.016505258068993306</c:v>
                </c:pt>
                <c:pt idx="3">
                  <c:v>0.05305367056078226</c:v>
                </c:pt>
                <c:pt idx="4">
                  <c:v>0.022933793156152984</c:v>
                </c:pt>
                <c:pt idx="5">
                  <c:v>0.045656346239016515</c:v>
                </c:pt>
                <c:pt idx="6">
                  <c:v>0.032745011116607166</c:v>
                </c:pt>
                <c:pt idx="7">
                  <c:v>0.13356059179014013</c:v>
                </c:pt>
                <c:pt idx="8">
                  <c:v>5.0857004490138715e-06</c:v>
                </c:pt>
                <c:pt idx="9">
                  <c:v>3.5264351773265254e-05</c:v>
                </c:pt>
                <c:pt idx="10">
                  <c:v>2.0856614831110494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54398904869524</c:v>
                </c:pt>
                <c:pt idx="3">
                  <c:v>0.0010914792650602583</c:v>
                </c:pt>
                <c:pt idx="4">
                  <c:v>0.0007475657546542414</c:v>
                </c:pt>
                <c:pt idx="5">
                  <c:v>0.0029901051262225236</c:v>
                </c:pt>
                <c:pt idx="6">
                  <c:v>0.002285169642351142</c:v>
                </c:pt>
                <c:pt idx="7">
                  <c:v>0.006544632091486684</c:v>
                </c:pt>
                <c:pt idx="8">
                  <c:v>0.007706044172956959</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897384324785807e-05</c:v>
                </c:pt>
                <c:pt idx="1">
                  <c:v>0.0022967811921920335</c:v>
                </c:pt>
                <c:pt idx="2">
                  <c:v>0.00409545396728098</c:v>
                </c:pt>
                <c:pt idx="3">
                  <c:v/>
                </c:pt>
                <c:pt idx="4">
                  <c:v>2.5386780360866692e-05</c:v>
                </c:pt>
                <c:pt idx="5">
                  <c:v>0.00496199496744331</c:v>
                </c:pt>
                <c:pt idx="6">
                  <c:v>0.0038113466674709437</c:v>
                </c:pt>
                <c:pt idx="7">
                  <c:v>0.00639176918747543</c:v>
                </c:pt>
                <c:pt idx="8">
                  <c:v>0.00822345642633344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8223456426333443</c:v>
                </c:pt>
                <c:pt idx="3">
                  <c:v>0.00639176918747543</c:v>
                </c:pt>
                <c:pt idx="4">
                  <c:v>0.0038113466674709437</c:v>
                </c:pt>
                <c:pt idx="5">
                  <c:v>0.00496199496744331</c:v>
                </c:pt>
                <c:pt idx="6">
                  <c:v>2.5386780360866692e-05</c:v>
                </c:pt>
                <c:pt idx="7">
                  <c:v/>
                </c:pt>
                <c:pt idx="8">
                  <c:v>0.0022967811921920335</c:v>
                </c:pt>
                <c:pt idx="9">
                  <c:v>0.00409545396728098</c:v>
                </c:pt>
                <c:pt idx="10">
                  <c:v>9.897384324785807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57822488270972e-05</c:v>
                </c:pt>
                <c:pt idx="5">
                  <c:v>0.0012985707944666272</c:v>
                </c:pt>
                <c:pt idx="6">
                  <c:v>0.0017245101921208505</c:v>
                </c:pt>
                <c:pt idx="7">
                  <c:v>0.0035791279967986884</c:v>
                </c:pt>
                <c:pt idx="8">
                  <c:v>0.010563154350524996</c:v>
                </c:pt>
                <c:pt idx="9">
                  <c:v>0.0010917745531189072</c:v>
                </c:pt>
                <c:pt idx="10">
                  <c:v>0.0001206363212784270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4.171911535281731e-05</c:v>
                </c:pt>
                <c:pt idx="5">
                  <c:v>0.0006502139779190402</c:v>
                </c:pt>
                <c:pt idx="6">
                  <c:v>0.0024618690465788855</c:v>
                </c:pt>
                <c:pt idx="7">
                  <c:v>0.007174550950070865</c:v>
                </c:pt>
                <c:pt idx="8">
                  <c:v>0.008591496943341055</c:v>
                </c:pt>
                <c:pt idx="9">
                  <c:v>0.001333507762564556</c:v>
                </c:pt>
                <c:pt idx="10">
                  <c:v>0.0001596549534337289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5965495343372898</c:v>
                </c:pt>
                <c:pt idx="1">
                  <c:v>0.001333507762564556</c:v>
                </c:pt>
                <c:pt idx="2">
                  <c:v>0.008591496943341055</c:v>
                </c:pt>
                <c:pt idx="3">
                  <c:v>0.007174550950070865</c:v>
                </c:pt>
                <c:pt idx="4">
                  <c:v>0.0024618690465788855</c:v>
                </c:pt>
                <c:pt idx="5">
                  <c:v>0.0006502139779190402</c:v>
                </c:pt>
                <c:pt idx="6">
                  <c:v>4.171911535281731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19103502611428e-08</c:v>
                </c:pt>
                <c:pt idx="1">
                  <c:v/>
                </c:pt>
                <c:pt idx="2">
                  <c:v>9.032075630683978e-08</c:v>
                </c:pt>
                <c:pt idx="3">
                  <c:v>0.01000862612550026</c:v>
                </c:pt>
                <c:pt idx="4">
                  <c:v>0.0016753006961716</c:v>
                </c:pt>
                <c:pt idx="5">
                  <c:v>0.0075117272869787656</c:v>
                </c:pt>
                <c:pt idx="6">
                  <c:v>0.002829009610894508</c:v>
                </c:pt>
                <c:pt idx="7">
                  <c:v>0.007196062099894999</c:v>
                </c:pt>
                <c:pt idx="8">
                  <c:v>0.003004117907300123</c:v>
                </c:pt>
                <c:pt idx="9">
                  <c:v>4.045739213923831e-06</c:v>
                </c:pt>
                <c:pt idx="10">
                  <c:v>6.950418698544793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7415229367946326e-06</c:v>
                </c:pt>
                <c:pt idx="1">
                  <c:v>6.426479576343146e-07</c:v>
                </c:pt>
                <c:pt idx="2">
                  <c:v>4.45613418870969e-06</c:v>
                </c:pt>
                <c:pt idx="3">
                  <c:v>0.01687721138806102</c:v>
                </c:pt>
                <c:pt idx="4">
                  <c:v>0.00413778096601834</c:v>
                </c:pt>
                <c:pt idx="5">
                  <c:v>0.005769305124771625</c:v>
                </c:pt>
                <c:pt idx="6">
                  <c:v>0.0028979991016709087</c:v>
                </c:pt>
                <c:pt idx="7">
                  <c:v>0.006704058442431768</c:v>
                </c:pt>
                <c:pt idx="8">
                  <c:v>0.0020856655822744283</c:v>
                </c:pt>
                <c:pt idx="9">
                  <c:v>0.0018707747056201961</c:v>
                </c:pt>
                <c:pt idx="10">
                  <c:v>2.1420715222920265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420715222920265e-05</c:v>
                </c:pt>
                <c:pt idx="1">
                  <c:v>0.0018707747056201961</c:v>
                </c:pt>
                <c:pt idx="2">
                  <c:v>0.0020856655822744283</c:v>
                </c:pt>
                <c:pt idx="3">
                  <c:v>0.006704058442431768</c:v>
                </c:pt>
                <c:pt idx="4">
                  <c:v>0.0028979991016709087</c:v>
                </c:pt>
                <c:pt idx="5">
                  <c:v>0.005769305124771625</c:v>
                </c:pt>
                <c:pt idx="6">
                  <c:v>0.00413778096601834</c:v>
                </c:pt>
                <c:pt idx="7">
                  <c:v>0.01687721138806102</c:v>
                </c:pt>
                <c:pt idx="8">
                  <c:v>6.426479576343146e-07</c:v>
                </c:pt>
                <c:pt idx="9">
                  <c:v>4.45613418870969e-06</c:v>
                </c:pt>
                <c:pt idx="10">
                  <c:v>2.7415229367946326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54398904869524</c:v>
                </c:pt>
                <c:pt idx="3">
                  <c:v>0.0010914792650602583</c:v>
                </c:pt>
                <c:pt idx="4">
                  <c:v>0.0007475657546542414</c:v>
                </c:pt>
                <c:pt idx="5">
                  <c:v>0.0029901051262225236</c:v>
                </c:pt>
                <c:pt idx="6">
                  <c:v>0.002285169642351142</c:v>
                </c:pt>
                <c:pt idx="7">
                  <c:v>0.006544632091486684</c:v>
                </c:pt>
                <c:pt idx="8">
                  <c:v>0.007706044172956959</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227722476043873e-08</c:v>
                </c:pt>
                <c:pt idx="1">
                  <c:v>1.7636380033222116e-06</c:v>
                </c:pt>
                <c:pt idx="2">
                  <c:v>0.00388488110655021</c:v>
                </c:pt>
                <c:pt idx="3">
                  <c:v>0.004504171129757354</c:v>
                </c:pt>
                <c:pt idx="4">
                  <c:v>0.0008002239117989131</c:v>
                </c:pt>
                <c:pt idx="5">
                  <c:v>0.003204383171782237</c:v>
                </c:pt>
                <c:pt idx="6">
                  <c:v>0.002846086397167409</c:v>
                </c:pt>
                <c:pt idx="7">
                  <c:v>0.007779802096760204</c:v>
                </c:pt>
                <c:pt idx="8">
                  <c:v>0.007211375340566979</c:v>
                </c:pt>
                <c:pt idx="9">
                  <c:v>4.372656206583996e-08</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4.372656206583996e-08</c:v>
                </c:pt>
                <c:pt idx="2">
                  <c:v>0.007211375340566979</c:v>
                </c:pt>
                <c:pt idx="3">
                  <c:v>0.007779802096760204</c:v>
                </c:pt>
                <c:pt idx="4">
                  <c:v>0.002846086397167409</c:v>
                </c:pt>
                <c:pt idx="5">
                  <c:v>0.003204383171782237</c:v>
                </c:pt>
                <c:pt idx="6">
                  <c:v>0.0008002239117989131</c:v>
                </c:pt>
                <c:pt idx="7">
                  <c:v>0.004504171129757354</c:v>
                </c:pt>
                <c:pt idx="8">
                  <c:v>1.7636380033222116e-06</c:v>
                </c:pt>
                <c:pt idx="9">
                  <c:v>0.00388488110655021</c:v>
                </c:pt>
                <c:pt idx="10">
                  <c:v>6.227722476043873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18073944138045</c:v>
                </c:pt>
                <c:pt idx="1">
                  <c:v>0.00048088142087695704</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pt idx="10">
                  <c:v>0.00024568744850870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725619934971639</c:v>
                </c:pt>
                <c:pt idx="3">
                  <c:v>0.008949046454423844</c:v>
                </c:pt>
                <c:pt idx="4">
                  <c:v>0.006129297074432178</c:v>
                </c:pt>
                <c:pt idx="5">
                  <c:v>0.024515893736835173</c:v>
                </c:pt>
                <c:pt idx="6">
                  <c:v>0.015661540441294683</c:v>
                </c:pt>
                <c:pt idx="7">
                  <c:v>0.05133844013659845</c:v>
                </c:pt>
                <c:pt idx="8">
                  <c:v>0.05778867381508910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9433076220715705</c:v>
                </c:pt>
                <c:pt idx="1">
                  <c:v/>
                </c:pt>
                <c:pt idx="2">
                  <c:v>0.015808316239147732</c:v>
                </c:pt>
                <c:pt idx="3">
                  <c:v>0.07953967284854058</c:v>
                </c:pt>
                <c:pt idx="4">
                  <c:v>0.04615894771834592</c:v>
                </c:pt>
                <c:pt idx="5">
                  <c:v>0.035006207408320195</c:v>
                </c:pt>
                <c:pt idx="6">
                  <c:v>0.010506928851688921</c:v>
                </c:pt>
                <c:pt idx="7">
                  <c:v>0.09102463177222263</c:v>
                </c:pt>
                <c:pt idx="8">
                  <c:v>0.014093734792729056</c:v>
                </c:pt>
                <c:pt idx="9">
                  <c:v>1.3257242188576946e-06</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928410744405195e-07</c:v>
                </c:pt>
                <c:pt idx="1">
                  <c:v>1.3956839788943221e-05</c:v>
                </c:pt>
                <c:pt idx="2">
                  <c:v>0.030743646429186058</c:v>
                </c:pt>
                <c:pt idx="3">
                  <c:v>0.03564450001734381</c:v>
                </c:pt>
                <c:pt idx="4">
                  <c:v>0.006332703713131765</c:v>
                </c:pt>
                <c:pt idx="5">
                  <c:v>0.02535841395269573</c:v>
                </c:pt>
                <c:pt idx="6">
                  <c:v>0.01714739853104838</c:v>
                </c:pt>
                <c:pt idx="7">
                  <c:v>0.054161420006419936</c:v>
                </c:pt>
                <c:pt idx="8">
                  <c:v>0.05324888805616224</c:v>
                </c:pt>
                <c:pt idx="9">
                  <c:v>3.460373501390881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3.460373501390881e-07</c:v>
                </c:pt>
                <c:pt idx="2">
                  <c:v>0.05324888805616224</c:v>
                </c:pt>
                <c:pt idx="3">
                  <c:v>0.054161420006419936</c:v>
                </c:pt>
                <c:pt idx="4">
                  <c:v>0.01714739853104838</c:v>
                </c:pt>
                <c:pt idx="5">
                  <c:v>0.02535841395269573</c:v>
                </c:pt>
                <c:pt idx="6">
                  <c:v>0.006332703713131765</c:v>
                </c:pt>
                <c:pt idx="7">
                  <c:v>0.03564450001734381</c:v>
                </c:pt>
                <c:pt idx="8">
                  <c:v>1.3956839788943221e-05</c:v>
                </c:pt>
                <c:pt idx="9">
                  <c:v>0.030743646429186058</c:v>
                </c:pt>
                <c:pt idx="10">
                  <c:v>4.92841074440519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005470452338948385</c:v>
                </c:pt>
                <c:pt idx="1">
                  <c:v>1.775865544851616e-05</c:v>
                </c:pt>
                <c:pt idx="2">
                  <c:v>5.013861288727176e-05</c:v>
                </c:pt>
                <c:pt idx="3">
                  <c:v>0.00961376917693007</c:v>
                </c:pt>
                <c:pt idx="4">
                  <c:v>0.004025278770001397</c:v>
                </c:pt>
                <c:pt idx="5">
                  <c:v>0.0025014971958159204</c:v>
                </c:pt>
                <c:pt idx="6">
                  <c:v>0.0006715239450754508</c:v>
                </c:pt>
                <c:pt idx="7">
                  <c:v>0.005986983305218279</c:v>
                </c:pt>
                <c:pt idx="8">
                  <c:v>0.003470515312153975</c:v>
                </c:pt>
                <c:pt idx="9">
                  <c:v>0.00020150080289769475</c:v>
                </c:pt>
                <c:pt idx="10">
                  <c:v>1.9123835122673228e-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8437910048412846</c:v>
                </c:pt>
                <c:pt idx="6">
                  <c:v>0.00279180170384397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65955486855138945</c:v>
                </c:pt>
                <c:pt idx="6">
                  <c:v>0.009964396339017691</c:v>
                </c:pt>
                <c:pt idx="7">
                  <c:v>0.0047563341441257</c:v>
                </c:pt>
                <c:pt idx="8">
                  <c:v>0.010300855959700369</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9709188742891893</c:v>
                </c:pt>
                <c:pt idx="6">
                  <c:v>0.015033118172919368</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15033118172919368</c:v>
                </c:pt>
                <c:pt idx="5">
                  <c:v>0.09709188742891893</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3257242188576946e-06</c:v>
                </c:pt>
                <c:pt idx="2">
                  <c:v>0.014093734792729056</c:v>
                </c:pt>
                <c:pt idx="3">
                  <c:v>0.09102463177222263</c:v>
                </c:pt>
                <c:pt idx="4">
                  <c:v>0.010506928851688921</c:v>
                </c:pt>
                <c:pt idx="5">
                  <c:v>0.035006207408320195</c:v>
                </c:pt>
                <c:pt idx="6">
                  <c:v>0.04615894771834592</c:v>
                </c:pt>
                <c:pt idx="7">
                  <c:v>0.07953967284854058</c:v>
                </c:pt>
                <c:pt idx="8">
                  <c:v/>
                </c:pt>
                <c:pt idx="9">
                  <c:v>0.015808316239147732</c:v>
                </c:pt>
                <c:pt idx="10">
                  <c:v>0.00394330762207157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005470452338948385</c:v>
                </c:pt>
                <c:pt idx="1">
                  <c:v>1.775865544851616e-05</c:v>
                </c:pt>
                <c:pt idx="2">
                  <c:v>5.013861288727176e-05</c:v>
                </c:pt>
                <c:pt idx="3">
                  <c:v>0.004025278770001397</c:v>
                </c:pt>
                <c:pt idx="4">
                  <c:v>0.00961376917693007</c:v>
                </c:pt>
                <c:pt idx="5">
                  <c:v>0.0025014971958159204</c:v>
                </c:pt>
                <c:pt idx="6">
                  <c:v>0.0006715239450754508</c:v>
                </c:pt>
                <c:pt idx="7">
                  <c:v>0.005986983305218279</c:v>
                </c:pt>
                <c:pt idx="8">
                  <c:v>0.003470515312153975</c:v>
                </c:pt>
                <c:pt idx="9">
                  <c:v>0.00020150080289769475</c:v>
                </c:pt>
                <c:pt idx="10">
                  <c:v>1.9123835122673228e-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0.08437910048412846</c:v>
                </c:pt>
                <c:pt idx="6">
                  <c:v>0.00279180170384397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047563341441257</c:v>
                </c:pt>
                <c:pt idx="8">
                  <c:v>0.010300855959700369</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026462490913729043</c:v>
                </c:pt>
                <c:pt idx="5">
                  <c:v>0.06387838300374067</c:v>
                </c:pt>
                <c:pt idx="6">
                  <c:v>0.028663580958399385</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0.2513173424829716</c:v>
                </c:pt>
                <c:pt idx="1">
                  <c:v>0.02399531318055816</c:v>
                </c:pt>
                <c:pt idx="2">
                  <c:v>0.017913651730790937</c:v>
                </c:pt>
                <c:pt idx="3">
                  <c:v>0.04759709771413086</c:v>
                </c:pt>
                <c:pt idx="4">
                  <c:v>0.09651889967226963</c:v>
                </c:pt>
                <c:pt idx="5">
                  <c:v>0.11494751174683011</c:v>
                </c:pt>
                <c:pt idx="6">
                  <c:v>0.1736599363969465</c:v>
                </c:pt>
                <c:pt idx="7">
                  <c:v>0.0828936000585582</c:v>
                </c:pt>
                <c:pt idx="8">
                  <c:v>0.17952376942204418</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0.028663580958399385</c:v>
                </c:pt>
                <c:pt idx="5">
                  <c:v>0.06387838300374067</c:v>
                </c:pt>
                <c:pt idx="6">
                  <c:v>0.0026462490913729043</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11709217842335341</c:v>
                </c:pt>
                <c:pt idx="6">
                  <c:v>0.00534250401584362</c:v>
                </c:pt>
                <c:pt idx="7">
                  <c:v>0.006340546960868801</c:v>
                </c:pt>
                <c:pt idx="8">
                  <c:v>0.016091999132285983</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3.487033366796044e-07</c:v>
                </c:pt>
                <c:pt idx="1">
                  <c:v/>
                </c:pt>
                <c:pt idx="2">
                  <c:v/>
                </c:pt>
                <c:pt idx="3">
                  <c:v/>
                </c:pt>
                <c:pt idx="4">
                  <c:v/>
                </c:pt>
                <c:pt idx="5">
                  <c:v>6.191263324719507e-07</c:v>
                </c:pt>
                <c:pt idx="6">
                  <c:v/>
                </c:pt>
                <c:pt idx="7">
                  <c:v>0.00031723463964292663</c:v>
                </c:pt>
                <c:pt idx="8">
                  <c:v>0.01813256639094480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9964396339017691</c:v>
                </c:pt>
                <c:pt idx="6">
                  <c:v>0.0065955486855138945</c:v>
                </c:pt>
                <c:pt idx="7">
                  <c:v>0.0047563341441257</c:v>
                </c:pt>
                <c:pt idx="8">
                  <c:v>0.010300855959700369</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0.020061875223393498</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
                </c:pt>
                <c:pt idx="3">
                  <c:v>0.020061875223393498</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0534250401584362</c:v>
                </c:pt>
                <c:pt idx="6">
                  <c:v>0.011709217842335341</c:v>
                </c:pt>
                <c:pt idx="7">
                  <c:v>0.016091999132285983</c:v>
                </c:pt>
                <c:pt idx="8">
                  <c:v>0.006340546960868801</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1.117273956299957e-06</c:v>
                </c:pt>
                <c:pt idx="1">
                  <c:v/>
                </c:pt>
                <c:pt idx="2">
                  <c:v/>
                </c:pt>
                <c:pt idx="3">
                  <c:v/>
                </c:pt>
                <c:pt idx="4">
                  <c:v/>
                </c:pt>
                <c:pt idx="5">
                  <c:v/>
                </c:pt>
                <c:pt idx="6">
                  <c:v>0.0004899353044294703</c:v>
                </c:pt>
                <c:pt idx="7">
                  <c:v>0.005892467263552843</c:v>
                </c:pt>
                <c:pt idx="8">
                  <c:v/>
                </c:pt>
                <c:pt idx="9">
                  <c:v>0.03561472989503588</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65955486855138945</c:v>
                </c:pt>
                <c:pt idx="6">
                  <c:v>0.009964396339017691</c:v>
                </c:pt>
                <c:pt idx="7">
                  <c:v>0.010300855959700369</c:v>
                </c:pt>
                <c:pt idx="8">
                  <c:v>0.0047563341441257</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3.1413052491210713e-06</c:v>
                </c:pt>
                <c:pt idx="7">
                  <c:v>1.330102222600814e-06</c:v>
                </c:pt>
                <c:pt idx="8">
                  <c:v>1.8055430170623815e-05</c:v>
                </c:pt>
                <c:pt idx="9">
                  <c:v>5.235508748535119e-06</c:v>
                </c:pt>
                <c:pt idx="10">
                  <c:v>2.0942034994140474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2.0942034994140474e-06</c:v>
                </c:pt>
                <c:pt idx="1">
                  <c:v>5.235508748535119e-06</c:v>
                </c:pt>
                <c:pt idx="2">
                  <c:v>1.8055430170623815e-05</c:v>
                </c:pt>
                <c:pt idx="3">
                  <c:v>1.330102222600814e-06</c:v>
                </c:pt>
                <c:pt idx="4">
                  <c:v>3.1413052491210713e-06</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12341393663748654</c:v>
                </c:pt>
                <c:pt idx="1">
                  <c:v>0.0008164207943921507</c:v>
                </c:pt>
                <c:pt idx="2">
                  <c:v>0.0011358723236137916</c:v>
                </c:pt>
                <c:pt idx="3">
                  <c:v>0.006108898879662129</c:v>
                </c:pt>
                <c:pt idx="4">
                  <c:v>0.001863379440483044</c:v>
                </c:pt>
                <c:pt idx="5">
                  <c:v>0.00534250401584362</c:v>
                </c:pt>
                <c:pt idx="6">
                  <c:v>0.011709217842335341</c:v>
                </c:pt>
                <c:pt idx="7">
                  <c:v>0.006340546960868801</c:v>
                </c:pt>
                <c:pt idx="8">
                  <c:v>0.016091999132285983</c:v>
                </c:pt>
                <c:pt idx="9">
                  <c:v>0.0012990696296404371</c:v>
                </c:pt>
                <c:pt idx="10">
                  <c:v>0.00024531209806216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3.487033366796044e-07</c:v>
                </c:pt>
                <c:pt idx="1">
                  <c:v/>
                </c:pt>
                <c:pt idx="2">
                  <c:v/>
                </c:pt>
                <c:pt idx="3">
                  <c:v/>
                </c:pt>
                <c:pt idx="4">
                  <c:v/>
                </c:pt>
                <c:pt idx="5">
                  <c:v/>
                </c:pt>
                <c:pt idx="6">
                  <c:v>6.191263324719507e-07</c:v>
                </c:pt>
                <c:pt idx="7">
                  <c:v>0.00031723463964292663</c:v>
                </c:pt>
                <c:pt idx="8">
                  <c:v>0.01813256639094480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14420284029385434</c:v>
                </c:pt>
                <c:pt idx="1">
                  <c:v>0.0013768219416101365</c:v>
                </c:pt>
                <c:pt idx="2">
                  <c:v>0.0010278635903489238</c:v>
                </c:pt>
                <c:pt idx="3">
                  <c:v>0.005538137295766567</c:v>
                </c:pt>
                <c:pt idx="4">
                  <c:v>0.0027310636871734576</c:v>
                </c:pt>
                <c:pt idx="5">
                  <c:v>0.0065955486855138945</c:v>
                </c:pt>
                <c:pt idx="6">
                  <c:v>0.009964396339017691</c:v>
                </c:pt>
                <c:pt idx="7">
                  <c:v>0.0047563341441257</c:v>
                </c:pt>
                <c:pt idx="8">
                  <c:v>0.010300855959700369</c:v>
                </c:pt>
                <c:pt idx="9">
                  <c:v>0.0006227144416413016</c:v>
                </c:pt>
                <c:pt idx="10">
                  <c:v>4.476595322597728e-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76504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6935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3842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89045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4826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0214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27271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578353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4521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8118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9928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43216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92889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34398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60300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69043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38134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9668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333177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450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9762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58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79312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93988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22996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56169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80647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1646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54371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335</Words>
  <Application>Microsoft Office PowerPoint</Application>
  <PresentationFormat>On-screen Show (16:9)</PresentationFormat>
  <Paragraphs>1247</Paragraphs>
  <Slides>29</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